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7:14.457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7:14.457" v="13" actId="27918"/>
        <pc:sldMkLst>
          <pc:docMk/>
          <pc:sldMk cId="1708932620" sldId="407"/>
        </pc:sldMkLst>
        <pc:spChg chg="mod">
          <ac:chgData name="Weigel Stefan (PAR-EPS)" userId="fd3b2067-2981-4ad8-bf3a-d2e1004e4fa8" providerId="ADAL" clId="{A4CFA2F4-FF8D-446B-B271-6DF568DBEADA}" dt="2026-01-15T16:30:22.273" v="1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5T16:30:27.516" v="7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21329255330686"/>
          <c:y val="3.9318010048961703E-2"/>
          <c:w val="0.8668776165376022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à ret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egia</c:v>
                </c:pt>
                <c:pt idx="1">
                  <c:v>Finlandia</c:v>
                </c:pt>
                <c:pt idx="2">
                  <c:v>Svezia</c:v>
                </c:pt>
                <c:pt idx="3">
                  <c:v>Spagna</c:v>
                </c:pt>
                <c:pt idx="4">
                  <c:v>Romania</c:v>
                </c:pt>
                <c:pt idx="5">
                  <c:v>Francia</c:v>
                </c:pt>
                <c:pt idx="6">
                  <c:v>Italia</c:v>
                </c:pt>
                <c:pt idx="7">
                  <c:v>Danimarca</c:v>
                </c:pt>
                <c:pt idx="8">
                  <c:v>Polonia</c:v>
                </c:pt>
                <c:pt idx="9">
                  <c:v>Austria</c:v>
                </c:pt>
                <c:pt idx="10">
                  <c:v>Gran Bretagna</c:v>
                </c:pt>
                <c:pt idx="11">
                  <c:v>Paesi Bassi</c:v>
                </c:pt>
                <c:pt idx="12">
                  <c:v>Germania</c:v>
                </c:pt>
                <c:pt idx="13">
                  <c:v>Cechia</c:v>
                </c:pt>
                <c:pt idx="14">
                  <c:v>Svizzera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3046664898072</c:v>
                </c:pt>
                <c:pt idx="1">
                  <c:v>17.478746258248101</c:v>
                </c:pt>
                <c:pt idx="2">
                  <c:v>24.366149334859099</c:v>
                </c:pt>
                <c:pt idx="3">
                  <c:v>32.050636088564197</c:v>
                </c:pt>
                <c:pt idx="4">
                  <c:v>44.5096015906174</c:v>
                </c:pt>
                <c:pt idx="5">
                  <c:v>50.677660186468898</c:v>
                </c:pt>
                <c:pt idx="6">
                  <c:v>55.876111878018698</c:v>
                </c:pt>
                <c:pt idx="7">
                  <c:v>57.029702970297002</c:v>
                </c:pt>
                <c:pt idx="8">
                  <c:v>62.9151599086969</c:v>
                </c:pt>
                <c:pt idx="9">
                  <c:v>67.049762750661699</c:v>
                </c:pt>
                <c:pt idx="10">
                  <c:v>68.779331702066003</c:v>
                </c:pt>
                <c:pt idx="11">
                  <c:v>81.4115254962812</c:v>
                </c:pt>
                <c:pt idx="12">
                  <c:v>108.664341707475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nsità della rete ferroviaria in Europ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34459807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tte ferroviarie in metri per chilometro quadrato di superficie del Paes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Eurostat, BFS, ORR &amp; ONS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6F4BB9C-4259-4775-89FF-DD67F6EB68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à della rete ferroviaria in Europa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à della rete ferroviaria in Europa nel 2022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